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2" r:id="rId2"/>
    <p:sldId id="263" r:id="rId3"/>
    <p:sldId id="264" r:id="rId4"/>
    <p:sldId id="265" r:id="rId5"/>
    <p:sldId id="266" r:id="rId6"/>
    <p:sldId id="267" r:id="rId7"/>
    <p:sldId id="269" r:id="rId8"/>
    <p:sldId id="270" r:id="rId9"/>
    <p:sldId id="271" r:id="rId10"/>
    <p:sldId id="272" r:id="rId11"/>
    <p:sldId id="273" r:id="rId12"/>
    <p:sldId id="274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ем вы являетесь как участник ВЭД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82-4888-B097-2A212ED136F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82-4888-B097-2A212ED136F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Декларант</c:v>
                </c:pt>
                <c:pt idx="1">
                  <c:v>Таможенный представитель брокер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1.5</c:v>
                </c:pt>
                <c:pt idx="1">
                  <c:v>4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82-4888-B097-2A212ED136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Обеспечена ли оперативная обратная связь через </a:t>
            </a:r>
            <a:r>
              <a:rPr lang="ru-RU" dirty="0" smtClean="0"/>
              <a:t>телеграмм-чат </a:t>
            </a:r>
            <a:r>
              <a:rPr lang="ru-RU" dirty="0" smtClean="0"/>
              <a:t>«ЦЭД»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7030A0"/>
            </a:solidFill>
          </c:spPr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39-4A13-BF53-3F0B8D7D7AAB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39-4A13-BF53-3F0B8D7D7AAB}"/>
              </c:ext>
            </c:extLst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839-4A13-BF53-3F0B8D7D7AAB}"/>
              </c:ext>
            </c:extLst>
          </c:dPt>
          <c:dLbls>
            <c:dLbl>
              <c:idx val="0"/>
              <c:layout>
                <c:manualLayout>
                  <c:x val="0.11495362631925127"/>
                  <c:y val="-7.48144366335467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839-4A13-BF53-3F0B8D7D7AAB}"/>
                </c:ext>
              </c:extLst>
            </c:dLbl>
            <c:dLbl>
              <c:idx val="1"/>
              <c:layout>
                <c:manualLayout>
                  <c:x val="0.13523956037558965"/>
                  <c:y val="8.03562467545501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839-4A13-BF53-3F0B8D7D7AAB}"/>
                </c:ext>
              </c:extLst>
            </c:dLbl>
            <c:dLbl>
              <c:idx val="2"/>
              <c:layout>
                <c:manualLayout>
                  <c:x val="-3.3809890093897434E-2"/>
                  <c:y val="-0.149628873267093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839-4A13-BF53-3F0B8D7D7A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Всегда</c:v>
                </c:pt>
                <c:pt idx="1">
                  <c:v>Никогда</c:v>
                </c:pt>
                <c:pt idx="2">
                  <c:v>Затрудняюсь ответить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.9</c:v>
                </c:pt>
                <c:pt idx="1">
                  <c:v>61.8</c:v>
                </c:pt>
                <c:pt idx="2">
                  <c:v>2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839-4A13-BF53-3F0B8D7D7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908146426463219"/>
          <c:y val="0.44136263074526433"/>
          <c:w val="0.34009519303228747"/>
          <c:h val="0.190518922881566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Удовлетворяет</a:t>
            </a:r>
            <a:r>
              <a:rPr lang="ru-RU" baseline="0" dirty="0" smtClean="0"/>
              <a:t> ли Вас время оформления декларации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83-460C-A8F9-93F8C72D83A5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83-460C-A8F9-93F8C72D83A5}"/>
              </c:ext>
            </c:extLst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83-460C-A8F9-93F8C72D83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сегда</c:v>
                </c:pt>
                <c:pt idx="1">
                  <c:v>Никогда</c:v>
                </c:pt>
                <c:pt idx="2">
                  <c:v>Иногд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.9</c:v>
                </c:pt>
                <c:pt idx="1">
                  <c:v>57.3</c:v>
                </c:pt>
                <c:pt idx="2">
                  <c:v>3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83-460C-A8F9-93F8C72D83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516309681246109"/>
          <c:y val="0.4635592996507571"/>
          <c:w val="0.17374942438775079"/>
          <c:h val="0.181601534481005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ак Вы оцениваете уровень квалификации сотрудников </a:t>
            </a:r>
            <a:r>
              <a:rPr lang="ru-RU" dirty="0" err="1" smtClean="0"/>
              <a:t>ЦЭДа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84-4E2C-B5BD-2BD25CEB240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84-4E2C-B5BD-2BD25CEB240F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A84-4E2C-B5BD-2BD25CEB24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ысокий</c:v>
                </c:pt>
                <c:pt idx="1">
                  <c:v>Средний</c:v>
                </c:pt>
                <c:pt idx="2">
                  <c:v>Низки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.6</c:v>
                </c:pt>
                <c:pt idx="1">
                  <c:v>27.5</c:v>
                </c:pt>
                <c:pt idx="2">
                  <c:v>64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84-4E2C-B5BD-2BD25CEB2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64603187806192"/>
          <c:y val="0.49857749565676424"/>
          <c:w val="0.15890214452169954"/>
          <c:h val="0.209911159285149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Какой уровень прозрачности таможенных процедур ЦЭД?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98-41A7-90B6-DD5497850682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98-41A7-90B6-DD5497850682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98-41A7-90B6-DD54978506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ысокий</c:v>
                </c:pt>
                <c:pt idx="1">
                  <c:v>Средний</c:v>
                </c:pt>
                <c:pt idx="2">
                  <c:v>Низки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.4</c:v>
                </c:pt>
                <c:pt idx="1">
                  <c:v>17.600000000000001</c:v>
                </c:pt>
                <c:pt idx="2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C98-41A7-90B6-DD54978506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759721384322209"/>
          <c:y val="0.47525637825020456"/>
          <c:w val="0.16170755136881157"/>
          <c:h val="0.193946825778285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аков уровень комфортности использования ИС «АСТАНА-1»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C23-43C6-A411-ACD66ABF76AB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23-43C6-A411-ACD66ABF76AB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23-43C6-A411-ACD66ABF76AB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C23-43C6-A411-ACD66ABF76AB}"/>
              </c:ext>
            </c:extLst>
          </c:dPt>
          <c:dLbls>
            <c:dLbl>
              <c:idx val="0"/>
              <c:layout>
                <c:manualLayout>
                  <c:x val="6.8149731219964177E-2"/>
                  <c:y val="-8.7054935924286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C23-43C6-A411-ACD66ABF76AB}"/>
                </c:ext>
              </c:extLst>
            </c:dLbl>
            <c:dLbl>
              <c:idx val="2"/>
              <c:layout>
                <c:manualLayout>
                  <c:x val="-9.9952939122614243E-2"/>
                  <c:y val="3.7309258253265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C23-43C6-A411-ACD66ABF76AB}"/>
                </c:ext>
              </c:extLst>
            </c:dLbl>
            <c:dLbl>
              <c:idx val="3"/>
              <c:layout>
                <c:manualLayout>
                  <c:x val="-8.695652173913046E-2"/>
                  <c:y val="-9.8728194284648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C23-43C6-A411-ACD66ABF76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ысокий</c:v>
                </c:pt>
                <c:pt idx="1">
                  <c:v>Средний</c:v>
                </c:pt>
                <c:pt idx="2">
                  <c:v>Низки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</c:v>
                </c:pt>
                <c:pt idx="1">
                  <c:v>35.9</c:v>
                </c:pt>
                <c:pt idx="2">
                  <c:v>5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23-43C6-A411-ACD66ABF76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е сроки ЦЭД</a:t>
            </a:r>
            <a:r>
              <a:rPr lang="ru-RU" baseline="0" dirty="0" smtClean="0"/>
              <a:t> уведомляет плательщика о перечислении денег, внесенных в качестве обеспечения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7-4A9C-8045-65644A766FE0}"/>
              </c:ext>
            </c:extLst>
          </c:dPt>
          <c:dPt>
            <c:idx val="1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37-4A9C-8045-65644A766FE0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37-4A9C-8045-65644A766FE0}"/>
              </c:ext>
            </c:extLst>
          </c:dPt>
          <c:dLbls>
            <c:dLbl>
              <c:idx val="0"/>
              <c:layout>
                <c:manualLayout>
                  <c:x val="0.13933120655156545"/>
                  <c:y val="-7.99483704661533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737-4A9C-8045-65644A766FE0}"/>
                </c:ext>
              </c:extLst>
            </c:dLbl>
            <c:dLbl>
              <c:idx val="1"/>
              <c:layout>
                <c:manualLayout>
                  <c:x val="9.7531844586095803E-2"/>
                  <c:y val="7.10652181921361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737-4A9C-8045-65644A766FE0}"/>
                </c:ext>
              </c:extLst>
            </c:dLbl>
            <c:dLbl>
              <c:idx val="2"/>
              <c:layout>
                <c:manualLayout>
                  <c:x val="-6.9665603275782723E-2"/>
                  <c:y val="-0.151013588658289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5737-4A9C-8045-65644A766F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Не позднее одного рабочего дня со дня, следующего за днем перечисления денег</c:v>
                </c:pt>
                <c:pt idx="1">
                  <c:v>В течении 3-х дней</c:v>
                </c:pt>
                <c:pt idx="2">
                  <c:v>В течении одного месяц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1.4</c:v>
                </c:pt>
                <c:pt idx="1">
                  <c:v>32.799999999999997</c:v>
                </c:pt>
                <c:pt idx="2">
                  <c:v>4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37-4A9C-8045-65644A766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е сроки осуществляется</a:t>
            </a:r>
            <a:r>
              <a:rPr lang="ru-RU" baseline="0" dirty="0" smtClean="0"/>
              <a:t> Вам возврат денег, внесенных в качестве обеспечения</a:t>
            </a:r>
            <a:r>
              <a:rPr lang="ru-RU" dirty="0" smtClean="0"/>
              <a:t>?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84-4E2C-B5BD-2BD25CEB240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84-4E2C-B5BD-2BD25CEB240F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A84-4E2C-B5BD-2BD25CEB24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В течение 30 дней</c:v>
                </c:pt>
                <c:pt idx="1">
                  <c:v>В течение 60 дней</c:v>
                </c:pt>
                <c:pt idx="2">
                  <c:v>В течение более 60 дне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1.2</c:v>
                </c:pt>
                <c:pt idx="1">
                  <c:v>26</c:v>
                </c:pt>
                <c:pt idx="2">
                  <c:v>32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84-4E2C-B5BD-2BD25CEB2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Удовлетворяют ли Вас условные цены?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98-41A7-90B6-DD54978506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98-41A7-90B6-DD54978506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98-41A7-90B6-DD54978506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Устраивают</c:v>
                </c:pt>
                <c:pt idx="1">
                  <c:v>Не устраиваю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9</c:v>
                </c:pt>
                <c:pt idx="1">
                  <c:v>9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C98-41A7-90B6-DD54978506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Соответствуют ли условные цены ценам, размещенным на сайте КГД?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84-4E2C-B5BD-2BD25CEB240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84-4E2C-B5BD-2BD25CEB240F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A84-4E2C-B5BD-2BD25CEB24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.9</c:v>
                </c:pt>
                <c:pt idx="1">
                  <c:v>9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84-4E2C-B5BD-2BD25CEB2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Размещен ли в открытом доступе список</a:t>
            </a:r>
            <a:r>
              <a:rPr lang="ru-RU" baseline="0" dirty="0" smtClean="0"/>
              <a:t> контактов</a:t>
            </a:r>
            <a:r>
              <a:rPr lang="ru-RU" dirty="0" smtClean="0"/>
              <a:t> должностных лиц таможенных органов и ЦЭД?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98-41A7-90B6-DD54978506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98-41A7-90B6-DD54978506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98-41A7-90B6-DD54978506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.4</c:v>
                </c:pt>
                <c:pt idx="1">
                  <c:v>78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C98-41A7-90B6-DD54978506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ак в целом Вы оцениваете деятельность ЦЭД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4B1-4F3D-A9E8-050BD4C63C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4B1-4F3D-A9E8-050BD4C63C1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BB6-490B-A557-08D618D234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Положительно</c:v>
                </c:pt>
                <c:pt idx="1">
                  <c:v>Отрицательно</c:v>
                </c:pt>
                <c:pt idx="2">
                  <c:v>Нейтрально (затрудняюсь определить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.6999999999999993</c:v>
                </c:pt>
                <c:pt idx="1">
                  <c:v>77.2</c:v>
                </c:pt>
                <c:pt idx="2">
                  <c:v>1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B1-4F3D-A9E8-050BD4C63C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Если размещен список</a:t>
            </a:r>
            <a:r>
              <a:rPr lang="ru-RU" baseline="0" dirty="0" smtClean="0"/>
              <a:t> контактов, то насколько он актуален</a:t>
            </a:r>
            <a:r>
              <a:rPr lang="ru-RU" dirty="0" smtClean="0"/>
              <a:t>?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C23-43C6-A411-ACD66ABF76AB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23-43C6-A411-ACD66ABF76AB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23-43C6-A411-ACD66ABF76AB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C23-43C6-A411-ACD66ABF76AB}"/>
              </c:ext>
            </c:extLst>
          </c:dPt>
          <c:dLbls>
            <c:dLbl>
              <c:idx val="0"/>
              <c:layout>
                <c:manualLayout>
                  <c:x val="6.8149731219964177E-2"/>
                  <c:y val="-8.7054935924286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23-43C6-A411-ACD66ABF76AB}"/>
                </c:ext>
              </c:extLst>
            </c:dLbl>
            <c:dLbl>
              <c:idx val="1"/>
              <c:layout>
                <c:manualLayout>
                  <c:x val="-0.17946095887923921"/>
                  <c:y val="1.71298969980642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23-43C6-A411-ACD66ABF76AB}"/>
                </c:ext>
              </c:extLst>
            </c:dLbl>
            <c:dLbl>
              <c:idx val="2"/>
              <c:layout>
                <c:manualLayout>
                  <c:x val="-9.9952939122614243E-2"/>
                  <c:y val="3.7309258253265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C23-43C6-A411-ACD66ABF76AB}"/>
                </c:ext>
              </c:extLst>
            </c:dLbl>
            <c:dLbl>
              <c:idx val="3"/>
              <c:layout>
                <c:manualLayout>
                  <c:x val="-8.695652173913046E-2"/>
                  <c:y val="-9.8728194284648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C23-43C6-A411-ACD66ABF76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Актуальный, всегда можно переговорить</c:v>
                </c:pt>
                <c:pt idx="1">
                  <c:v>Не актуальный, никогда не отвечаю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.7</c:v>
                </c:pt>
                <c:pt idx="1">
                  <c:v>8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23-43C6-A411-ACD66ABF76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По какому методу определения таможенной стоимости товаров Вы проходите таможенную очистку товаров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8F-4824-90F1-E2E16A32D5F4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18F-4824-90F1-E2E16A32D5F4}"/>
              </c:ext>
            </c:extLst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18F-4824-90F1-E2E16A32D5F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40-4C64-9BDF-74C3C51C931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740-4C64-9BDF-74C3C51C931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618F-4824-90F1-E2E16A32D5F4}"/>
              </c:ext>
            </c:extLst>
          </c:dPt>
          <c:dPt>
            <c:idx val="6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18F-4824-90F1-E2E16A32D5F4}"/>
              </c:ext>
            </c:extLst>
          </c:dPt>
          <c:dLbls>
            <c:dLbl>
              <c:idx val="0"/>
              <c:layout>
                <c:manualLayout>
                  <c:x val="5.9409227140526356E-2"/>
                  <c:y val="3.63235657667040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18F-4824-90F1-E2E16A32D5F4}"/>
                </c:ext>
              </c:extLst>
            </c:dLbl>
            <c:dLbl>
              <c:idx val="1"/>
              <c:layout>
                <c:manualLayout>
                  <c:x val="1.9597299070724269E-2"/>
                  <c:y val="1.6088660260152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18F-4824-90F1-E2E16A32D5F4}"/>
                </c:ext>
              </c:extLst>
            </c:dLbl>
            <c:dLbl>
              <c:idx val="2"/>
              <c:layout>
                <c:manualLayout>
                  <c:x val="1.0108622401929489E-2"/>
                  <c:y val="-1.71522046718108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18F-4824-90F1-E2E16A32D5F4}"/>
                </c:ext>
              </c:extLst>
            </c:dLbl>
            <c:dLbl>
              <c:idx val="5"/>
              <c:layout>
                <c:manualLayout>
                  <c:x val="-6.2222015322409025E-3"/>
                  <c:y val="2.73058452863732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618F-4824-90F1-E2E16A32D5F4}"/>
                </c:ext>
              </c:extLst>
            </c:dLbl>
            <c:dLbl>
              <c:idx val="6"/>
              <c:layout>
                <c:manualLayout>
                  <c:x val="-2.5283836986592891E-2"/>
                  <c:y val="-3.93107474792103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18F-4824-90F1-E2E16A32D5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8</c:f>
              <c:strCache>
                <c:ptCount val="7"/>
                <c:pt idx="0">
                  <c:v>Первый без корректировки госоргана (заявленный)</c:v>
                </c:pt>
                <c:pt idx="1">
                  <c:v>Второй (в т.ч. скорректированный госорганом)</c:v>
                </c:pt>
                <c:pt idx="2">
                  <c:v>Третий (в т.ч. скорректированный госорганом)</c:v>
                </c:pt>
                <c:pt idx="3">
                  <c:v>Четвертый (в т.ч. скорректированный госорганом)</c:v>
                </c:pt>
                <c:pt idx="4">
                  <c:v>Пятый (в т.ч. скорректированный госорганом)</c:v>
                </c:pt>
                <c:pt idx="5">
                  <c:v>Шестой без корректировки госоргана (заявленный)</c:v>
                </c:pt>
                <c:pt idx="6">
                  <c:v>Шестой скорректированный госоргано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5.4</c:v>
                </c:pt>
                <c:pt idx="1">
                  <c:v>8.5</c:v>
                </c:pt>
                <c:pt idx="2">
                  <c:v>9.1999999999999993</c:v>
                </c:pt>
                <c:pt idx="3">
                  <c:v>2.2999999999999998</c:v>
                </c:pt>
                <c:pt idx="4">
                  <c:v>1.5</c:v>
                </c:pt>
                <c:pt idx="5">
                  <c:v>8.5</c:v>
                </c:pt>
                <c:pt idx="6">
                  <c:v>5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18F-4824-90F1-E2E16A32D5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0732167058744E-2"/>
          <c:y val="0.77695275064564839"/>
          <c:w val="0.89770327537778427"/>
          <c:h val="0.202620674419705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е сроки выставляются ФРРО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84-4E2C-B5BD-2BD25CEB240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84-4E2C-B5BD-2BD25CEB240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A84-4E2C-B5BD-2BD25CEB24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 течение одного дня</c:v>
                </c:pt>
                <c:pt idx="1">
                  <c:v>В течение двух дней</c:v>
                </c:pt>
                <c:pt idx="2">
                  <c:v>В течение трех дней и боле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.2</c:v>
                </c:pt>
                <c:pt idx="1">
                  <c:v>21.5</c:v>
                </c:pt>
                <c:pt idx="2">
                  <c:v>5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84-4E2C-B5BD-2BD25CEB2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ыставляется ли Вам ФРРО до рассмотрения документов, подтверждающих заявленную таможенную стоимость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98-41A7-90B6-DD54978506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98-41A7-90B6-DD54978506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98-41A7-90B6-DD54978506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сегда</c:v>
                </c:pt>
                <c:pt idx="1">
                  <c:v>Никогда</c:v>
                </c:pt>
                <c:pt idx="2">
                  <c:v>Иногд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2.3</c:v>
                </c:pt>
                <c:pt idx="1">
                  <c:v>18.5</c:v>
                </c:pt>
                <c:pt idx="2">
                  <c:v>2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C98-41A7-90B6-DD54978506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х коридорах осуществляется выпуск товаров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C23-43C6-A411-ACD66ABF76AB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23-43C6-A411-ACD66ABF76A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23-43C6-A411-ACD66ABF76AB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C23-43C6-A411-ACD66ABF76AB}"/>
              </c:ext>
            </c:extLst>
          </c:dPt>
          <c:dLbls>
            <c:dLbl>
              <c:idx val="0"/>
              <c:layout>
                <c:manualLayout>
                  <c:x val="6.8149731219964177E-2"/>
                  <c:y val="-8.7054935924286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C23-43C6-A411-ACD66ABF76AB}"/>
                </c:ext>
              </c:extLst>
            </c:dLbl>
            <c:dLbl>
              <c:idx val="2"/>
              <c:layout>
                <c:manualLayout>
                  <c:x val="-9.9952939122614243E-2"/>
                  <c:y val="3.7309258253265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C23-43C6-A411-ACD66ABF76AB}"/>
                </c:ext>
              </c:extLst>
            </c:dLbl>
            <c:dLbl>
              <c:idx val="3"/>
              <c:layout>
                <c:manualLayout>
                  <c:x val="-8.695652173913046E-2"/>
                  <c:y val="-9.8728194284648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C23-43C6-A411-ACD66ABF76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По зеленому</c:v>
                </c:pt>
                <c:pt idx="1">
                  <c:v>По желтому</c:v>
                </c:pt>
                <c:pt idx="2">
                  <c:v>По синему</c:v>
                </c:pt>
                <c:pt idx="3">
                  <c:v>По красному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5.4</c:v>
                </c:pt>
                <c:pt idx="1">
                  <c:v>55.4</c:v>
                </c:pt>
                <c:pt idx="2">
                  <c:v>5.4</c:v>
                </c:pt>
                <c:pt idx="3">
                  <c:v>2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23-43C6-A411-ACD66ABF76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акие действия Вы предпринимаете в случае корректировки </a:t>
            </a:r>
            <a:r>
              <a:rPr lang="ru-RU" dirty="0" err="1" smtClean="0"/>
              <a:t>ЦЭДом</a:t>
            </a:r>
            <a:r>
              <a:rPr lang="ru-RU" dirty="0" smtClean="0"/>
              <a:t> заявленной Вами таможенной стоимости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7-4A9C-8045-65644A766FE0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37-4A9C-8045-65644A766FE0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37-4A9C-8045-65644A766FE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Подаю жалобу в МФ</c:v>
                </c:pt>
                <c:pt idx="1">
                  <c:v>Пишу в телеграм-чат "таможенная стоимость"</c:v>
                </c:pt>
                <c:pt idx="2">
                  <c:v>Соглашаюсь с корректировко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.8</c:v>
                </c:pt>
                <c:pt idx="1">
                  <c:v>52.3</c:v>
                </c:pt>
                <c:pt idx="2">
                  <c:v>33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37-4A9C-8045-65644A766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е сроки ЦЭД направляет Вам запрос о предоставлении документов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7030A0"/>
            </a:solidFill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39-4A13-BF53-3F0B8D7D7AAB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39-4A13-BF53-3F0B8D7D7AAB}"/>
              </c:ext>
            </c:extLst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839-4A13-BF53-3F0B8D7D7AAB}"/>
              </c:ext>
            </c:extLst>
          </c:dPt>
          <c:dLbls>
            <c:dLbl>
              <c:idx val="0"/>
              <c:layout>
                <c:manualLayout>
                  <c:x val="2.4793919402191448E-2"/>
                  <c:y val="-0.1108362024200692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592966548973936E-2"/>
                      <c:h val="4.8795638115435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839-4A13-BF53-3F0B8D7D7AAB}"/>
                </c:ext>
              </c:extLst>
            </c:dLbl>
            <c:dLbl>
              <c:idx val="1"/>
              <c:layout>
                <c:manualLayout>
                  <c:x val="0.12622358968388375"/>
                  <c:y val="-7.48144366335467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839-4A13-BF53-3F0B8D7D7AAB}"/>
                </c:ext>
              </c:extLst>
            </c:dLbl>
            <c:dLbl>
              <c:idx val="2"/>
              <c:layout>
                <c:manualLayout>
                  <c:x val="-0.11269963364632476"/>
                  <c:y val="0.116378012541072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839-4A13-BF53-3F0B8D7D7A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В течении 4-х часов;</c:v>
                </c:pt>
                <c:pt idx="1">
                  <c:v>В течении одного рабочего дня;</c:v>
                </c:pt>
                <c:pt idx="2">
                  <c:v>В течении более одного дн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.9</c:v>
                </c:pt>
                <c:pt idx="1">
                  <c:v>15.3</c:v>
                </c:pt>
                <c:pt idx="2">
                  <c:v>77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839-4A13-BF53-3F0B8D7D7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908146426463219"/>
          <c:y val="0.44136263074526433"/>
          <c:w val="0.31863789270497933"/>
          <c:h val="0.33116155467410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 какие сроки</a:t>
            </a:r>
            <a:r>
              <a:rPr lang="ru-RU" baseline="0" dirty="0" smtClean="0"/>
              <a:t> рассматривает ЦЭД представленные Вами документы для подтверждения заявленной таможенной стоимости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83-460C-A8F9-93F8C72D83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83-460C-A8F9-93F8C72D83A5}"/>
              </c:ext>
            </c:extLst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83-460C-A8F9-93F8C72D83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В течении одного рабочего дня </c:v>
                </c:pt>
                <c:pt idx="1">
                  <c:v>В течении двух рабочих дней</c:v>
                </c:pt>
                <c:pt idx="2">
                  <c:v>В течении более двух дне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2.2</c:v>
                </c:pt>
                <c:pt idx="1">
                  <c:v>13.7</c:v>
                </c:pt>
                <c:pt idx="2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83-460C-A8F9-93F8C72D83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862120327918759"/>
          <c:y val="0.4741241423084307"/>
          <c:w val="0.31919816554305469"/>
          <c:h val="0.315661277002479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53D3D1-39DB-4986-8453-494DEB59BA43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3223A-654F-4BBE-A8C4-3F5EDFA11F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6781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DCB44B0-C0EB-459B-85ED-8C8EB04D0E08}" type="slidenum">
              <a:rPr lang="ru-RU" altLang="ru-RU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</a:t>
            </a:fld>
            <a:endParaRPr lang="ru-RU" altLang="ru-RU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055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3223A-654F-4BBE-A8C4-3F5EDFA11F5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200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3223A-654F-4BBE-A8C4-3F5EDFA11F5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854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9150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353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401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2495876" y="3276600"/>
            <a:ext cx="7200250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154" y="1512889"/>
            <a:ext cx="2157694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2495876" y="5345113"/>
            <a:ext cx="7200250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496021" y="3276132"/>
            <a:ext cx="7200000" cy="206969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2000" b="1" baseline="0">
                <a:solidFill>
                  <a:srgbClr val="004A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3593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370" y="141289"/>
            <a:ext cx="951037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336595" y="684213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336595" y="6567488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1298121" y="6567488"/>
            <a:ext cx="65254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9FA2262-B2DB-4322-90DD-D6CC925D5D1A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3950215" y="6567489"/>
            <a:ext cx="4291572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6594" y="128199"/>
            <a:ext cx="10065638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412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3576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2151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135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2285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994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831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221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847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837E03-17FF-4B00-8E8E-92B8E7F8B72B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34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2"/>
          <p:cNvSpPr>
            <a:spLocks noGrp="1"/>
          </p:cNvSpPr>
          <p:nvPr>
            <p:ph type="title"/>
          </p:nvPr>
        </p:nvSpPr>
        <p:spPr bwMode="auto">
          <a:xfrm>
            <a:off x="2351882" y="3284538"/>
            <a:ext cx="7631112" cy="2068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ru-RU" altLang="ru-RU" cap="all" dirty="0">
                <a:solidFill>
                  <a:srgbClr val="014A7B"/>
                </a:solidFill>
              </a:rPr>
              <a:t>РЕЗУЛЬТАТЫ </a:t>
            </a:r>
            <a:r>
              <a:rPr lang="ru-RU" altLang="ru-RU" cap="all" dirty="0" err="1" smtClean="0">
                <a:solidFill>
                  <a:srgbClr val="014A7B"/>
                </a:solidFill>
              </a:rPr>
              <a:t>анонимнОГО</a:t>
            </a:r>
            <a:r>
              <a:rPr lang="ru-RU" altLang="ru-RU" cap="all" dirty="0" smtClean="0">
                <a:solidFill>
                  <a:srgbClr val="014A7B"/>
                </a:solidFill>
              </a:rPr>
              <a:t> </a:t>
            </a:r>
            <a:r>
              <a:rPr lang="ru-RU" altLang="ru-RU" cap="all" dirty="0" err="1" smtClean="0">
                <a:solidFill>
                  <a:srgbClr val="014A7B"/>
                </a:solidFill>
              </a:rPr>
              <a:t>гугл-опросА</a:t>
            </a:r>
            <a:r>
              <a:rPr lang="ru-RU" altLang="ru-RU" cap="all" dirty="0">
                <a:solidFill>
                  <a:srgbClr val="014A7B"/>
                </a:solidFill>
              </a:rPr>
              <a:t> </a:t>
            </a:r>
            <a:r>
              <a:rPr lang="ru-RU" altLang="ru-RU" cap="all" dirty="0" smtClean="0">
                <a:solidFill>
                  <a:srgbClr val="014A7B"/>
                </a:solidFill>
              </a:rPr>
              <a:t/>
            </a:r>
            <a:br>
              <a:rPr lang="ru-RU" altLang="ru-RU" cap="all" dirty="0" smtClean="0">
                <a:solidFill>
                  <a:srgbClr val="014A7B"/>
                </a:solidFill>
              </a:rPr>
            </a:br>
            <a:r>
              <a:rPr lang="ru-RU" altLang="ru-RU" cap="all" dirty="0" smtClean="0">
                <a:solidFill>
                  <a:srgbClr val="014A7B"/>
                </a:solidFill>
              </a:rPr>
              <a:t>об уровне удовлетворенности бизнеса работой центра электронного декларирования</a:t>
            </a:r>
            <a:endParaRPr lang="ru-RU" altLang="ru-RU" sz="3200" dirty="0">
              <a:solidFill>
                <a:srgbClr val="014A7B"/>
              </a:solidFill>
            </a:endParaRPr>
          </a:p>
        </p:txBody>
      </p:sp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4916486" y="5583148"/>
            <a:ext cx="222246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200" b="1" dirty="0" smtClean="0">
                <a:solidFill>
                  <a:srgbClr val="014A7B"/>
                </a:solidFill>
                <a:ea typeface="+mj-ea"/>
              </a:rPr>
              <a:t>г. Нур-Султан, июнь 2022 г.</a:t>
            </a:r>
            <a:endParaRPr lang="ru-RU" altLang="ru-RU" sz="1200" b="1" dirty="0">
              <a:solidFill>
                <a:srgbClr val="014A7B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76806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945211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32,8% - ждут более 60 дней возврата денежного обеспече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93,1% - не устраивают условные цены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109522"/>
              </p:ext>
            </p:extLst>
          </p:nvPr>
        </p:nvGraphicFramePr>
        <p:xfrm>
          <a:off x="381544" y="963544"/>
          <a:ext cx="5866856" cy="4724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8940937"/>
              </p:ext>
            </p:extLst>
          </p:nvPr>
        </p:nvGraphicFramePr>
        <p:xfrm>
          <a:off x="6248400" y="903416"/>
          <a:ext cx="5765074" cy="450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7331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945211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91,1% - считают, что условные цены, применяемые таможенными органами, не соответствуют ценам, размещенным на сайте КГД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78,6% - считают, что списка контактов должностных лиц ЦЭД и таможенных органов в открытом доступе нет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243846"/>
              </p:ext>
            </p:extLst>
          </p:nvPr>
        </p:nvGraphicFramePr>
        <p:xfrm>
          <a:off x="381544" y="963544"/>
          <a:ext cx="5866856" cy="4724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5025780"/>
              </p:ext>
            </p:extLst>
          </p:nvPr>
        </p:nvGraphicFramePr>
        <p:xfrm>
          <a:off x="6248400" y="903416"/>
          <a:ext cx="5765074" cy="450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7809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844523"/>
            <a:ext cx="11605418" cy="3077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89,3% - не могут дозвониться до сотрудников, так как список контактов не актуальный. 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1399270"/>
              </p:ext>
            </p:extLst>
          </p:nvPr>
        </p:nvGraphicFramePr>
        <p:xfrm>
          <a:off x="2152650" y="1008644"/>
          <a:ext cx="7877175" cy="444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0821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graphicFrame>
        <p:nvGraphicFramePr>
          <p:cNvPr id="8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9751874"/>
              </p:ext>
            </p:extLst>
          </p:nvPr>
        </p:nvGraphicFramePr>
        <p:xfrm>
          <a:off x="838200" y="1425029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9773681"/>
              </p:ext>
            </p:extLst>
          </p:nvPr>
        </p:nvGraphicFramePr>
        <p:xfrm>
          <a:off x="6096000" y="1425029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81782" y="5741646"/>
            <a:ext cx="11570584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роведенным опросом охвачено </a:t>
            </a:r>
            <a:r>
              <a:rPr lang="ru-RU" sz="1400" b="1" dirty="0" smtClean="0">
                <a:solidFill>
                  <a:srgbClr val="FFFF00"/>
                </a:solidFill>
              </a:rPr>
              <a:t>130 </a:t>
            </a:r>
            <a:r>
              <a:rPr lang="ru-RU" sz="1400" dirty="0" smtClean="0">
                <a:solidFill>
                  <a:schemeClr val="bg1"/>
                </a:solidFill>
              </a:rPr>
              <a:t>респондентов: 51,5% - таможенные представители (брокеры), 48,5% - декларанты.</a:t>
            </a:r>
            <a:endParaRPr lang="ru-RU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FFFF00"/>
                </a:solidFill>
              </a:rPr>
              <a:t>77,2%</a:t>
            </a:r>
            <a:r>
              <a:rPr lang="ru-RU" sz="1400" dirty="0" smtClean="0">
                <a:solidFill>
                  <a:schemeClr val="bg1"/>
                </a:solidFill>
              </a:rPr>
              <a:t> оценили деятельность ЦЭД отрицательно.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72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graphicFrame>
        <p:nvGraphicFramePr>
          <p:cNvPr id="5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2756434"/>
              </p:ext>
            </p:extLst>
          </p:nvPr>
        </p:nvGraphicFramePr>
        <p:xfrm>
          <a:off x="495300" y="876299"/>
          <a:ext cx="11277600" cy="4752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81782" y="5906017"/>
            <a:ext cx="11605418" cy="3077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4,6% - по резервному шестому методу, скорректированному органом </a:t>
            </a:r>
            <a:r>
              <a:rPr lang="ru-RU" sz="1400" dirty="0" err="1" smtClean="0">
                <a:solidFill>
                  <a:schemeClr val="bg1"/>
                </a:solidFill>
              </a:rPr>
              <a:t>госдоходов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14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688036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9,2% - ФРРО выставляется в течение трех дней и более, 21,5% - в течение двух дней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2,3% - ФРРО выставляется ДО рассмотрения документов, подтверждающих заявленную таможенную стоимость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912080"/>
              </p:ext>
            </p:extLst>
          </p:nvPr>
        </p:nvGraphicFramePr>
        <p:xfrm>
          <a:off x="381544" y="963544"/>
          <a:ext cx="5866856" cy="4159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8210319"/>
              </p:ext>
            </p:extLst>
          </p:nvPr>
        </p:nvGraphicFramePr>
        <p:xfrm>
          <a:off x="6248400" y="903416"/>
          <a:ext cx="5765074" cy="450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28948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3" y="5558773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</a:rPr>
              <a:t>55,4% - </a:t>
            </a:r>
            <a:r>
              <a:rPr lang="ru-RU" sz="1400" dirty="0" smtClean="0">
                <a:solidFill>
                  <a:schemeClr val="bg1"/>
                </a:solidFill>
              </a:rPr>
              <a:t>выпуск товаров осуществляется по желтому коридору.</a:t>
            </a:r>
            <a:endParaRPr lang="ru-RU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2,3% - обращаются с вопросами в </a:t>
            </a:r>
            <a:r>
              <a:rPr lang="ru-RU" sz="1400" dirty="0" err="1" smtClean="0">
                <a:solidFill>
                  <a:schemeClr val="bg1"/>
                </a:solidFill>
              </a:rPr>
              <a:t>телеграм</a:t>
            </a:r>
            <a:r>
              <a:rPr lang="ru-RU" sz="1400" dirty="0" smtClean="0">
                <a:solidFill>
                  <a:schemeClr val="bg1"/>
                </a:solidFill>
              </a:rPr>
              <a:t>-чат «Таможенная стоимость», 13,8% - подают жалобу в МФ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9011581"/>
              </p:ext>
            </p:extLst>
          </p:nvPr>
        </p:nvGraphicFramePr>
        <p:xfrm>
          <a:off x="524418" y="1167714"/>
          <a:ext cx="5590631" cy="4084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0463183"/>
              </p:ext>
            </p:extLst>
          </p:nvPr>
        </p:nvGraphicFramePr>
        <p:xfrm>
          <a:off x="6331130" y="963473"/>
          <a:ext cx="5468983" cy="4289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483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889707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77,9% - ждут запрос </a:t>
            </a:r>
            <a:r>
              <a:rPr lang="ru-RU" sz="1400" dirty="0" err="1" smtClean="0">
                <a:solidFill>
                  <a:schemeClr val="bg1"/>
                </a:solidFill>
              </a:rPr>
              <a:t>ЦЭДа</a:t>
            </a:r>
            <a:r>
              <a:rPr lang="ru-RU" sz="1400" dirty="0" smtClean="0">
                <a:solidFill>
                  <a:schemeClr val="bg1"/>
                </a:solidFill>
              </a:rPr>
              <a:t> более одного дня,</a:t>
            </a:r>
            <a:endParaRPr lang="ru-RU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74% - представленные документы ЦЭД рассматривает более двух дней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37111"/>
              </p:ext>
            </p:extLst>
          </p:nvPr>
        </p:nvGraphicFramePr>
        <p:xfrm>
          <a:off x="450045" y="998310"/>
          <a:ext cx="5634446" cy="4583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976653"/>
              </p:ext>
            </p:extLst>
          </p:nvPr>
        </p:nvGraphicFramePr>
        <p:xfrm>
          <a:off x="6679474" y="858974"/>
          <a:ext cx="5118463" cy="4808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59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889707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61,8% - не получают оперативно ответы на свои вопросы в </a:t>
            </a:r>
            <a:r>
              <a:rPr lang="ru-RU" sz="1400" dirty="0" smtClean="0">
                <a:solidFill>
                  <a:schemeClr val="bg1"/>
                </a:solidFill>
              </a:rPr>
              <a:t>телеграмм-чате </a:t>
            </a:r>
            <a:r>
              <a:rPr lang="ru-RU" sz="1400" dirty="0" smtClean="0">
                <a:solidFill>
                  <a:schemeClr val="bg1"/>
                </a:solidFill>
              </a:rPr>
              <a:t>«ЦЭД»,</a:t>
            </a:r>
            <a:endParaRPr lang="ru-RU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7,3% - не удовлетворены скоростью таможенного оформления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5102930"/>
              </p:ext>
            </p:extLst>
          </p:nvPr>
        </p:nvGraphicFramePr>
        <p:xfrm>
          <a:off x="450045" y="998310"/>
          <a:ext cx="5634446" cy="4583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4690562"/>
              </p:ext>
            </p:extLst>
          </p:nvPr>
        </p:nvGraphicFramePr>
        <p:xfrm>
          <a:off x="6679474" y="858974"/>
          <a:ext cx="5118463" cy="4808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134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688036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64,9 % - оценивают уровень квалификации сотрудников ЦЭД как низкий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74% - характеризуют уровень прозрачности таможенных процедур как низкий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2519337"/>
              </p:ext>
            </p:extLst>
          </p:nvPr>
        </p:nvGraphicFramePr>
        <p:xfrm>
          <a:off x="381544" y="963544"/>
          <a:ext cx="5866856" cy="4159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1936265"/>
              </p:ext>
            </p:extLst>
          </p:nvPr>
        </p:nvGraphicFramePr>
        <p:xfrm>
          <a:off x="6248400" y="903416"/>
          <a:ext cx="5765074" cy="450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156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2" y="5844523"/>
            <a:ext cx="116054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51,1% - оценивают уровень комфортности использования ИС «АСТАНА-1» как низкий,</a:t>
            </a:r>
            <a:endParaRPr lang="ru-RU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45,8% - ждут целый месяц уведомления ЦЭД о поступлении своего денежного обеспечения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1012091"/>
              </p:ext>
            </p:extLst>
          </p:nvPr>
        </p:nvGraphicFramePr>
        <p:xfrm>
          <a:off x="372018" y="1047562"/>
          <a:ext cx="5590631" cy="444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8035331"/>
              </p:ext>
            </p:extLst>
          </p:nvPr>
        </p:nvGraphicFramePr>
        <p:xfrm>
          <a:off x="6216830" y="1088317"/>
          <a:ext cx="5468983" cy="4289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2747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2</TotalTime>
  <Words>528</Words>
  <Application>Microsoft Office PowerPoint</Application>
  <PresentationFormat>Широкоэкранный</PresentationFormat>
  <Paragraphs>75</Paragraphs>
  <Slides>1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Тема Office</vt:lpstr>
      <vt:lpstr>think-cell Slide</vt:lpstr>
      <vt:lpstr>РЕЗУЛЬТАТЫ анонимнОГО гугл-опросА  об уровне удовлетворенности бизнеса работой центра электронного декларир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урбаев Толеген Болатович</dc:creator>
  <cp:lastModifiedBy>Жанарбаева Нургуль Сейфуллиновна</cp:lastModifiedBy>
  <cp:revision>86</cp:revision>
  <dcterms:created xsi:type="dcterms:W3CDTF">2021-03-26T11:01:45Z</dcterms:created>
  <dcterms:modified xsi:type="dcterms:W3CDTF">2022-06-17T05:03:56Z</dcterms:modified>
</cp:coreProperties>
</file>